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0"/>
  </p:notesMasterIdLst>
  <p:sldIdLst>
    <p:sldId id="256" r:id="rId3"/>
    <p:sldId id="1082" r:id="rId4"/>
    <p:sldId id="1083" r:id="rId5"/>
    <p:sldId id="1074" r:id="rId6"/>
    <p:sldId id="1078" r:id="rId7"/>
    <p:sldId id="1079" r:id="rId8"/>
    <p:sldId id="1080" r:id="rId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706" autoAdjust="0"/>
  </p:normalViewPr>
  <p:slideViewPr>
    <p:cSldViewPr snapToGrid="0">
      <p:cViewPr varScale="1">
        <p:scale>
          <a:sx n="74" d="100"/>
          <a:sy n="74" d="100"/>
        </p:scale>
        <p:origin x="104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8/10/relationships/authors" Target="author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6-04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08352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6-0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6-04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5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6-04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5" y="4454732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581835"/>
            <a:ext cx="9649641" cy="58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14</a:t>
            </a: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주차 </a:t>
            </a:r>
            <a:r>
              <a:rPr lang="ko-KR" altLang="en-US" sz="2500" b="1" dirty="0" err="1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기융프</a:t>
            </a: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보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610704B-E41D-A67D-939A-A3AD1312FCC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E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99FBC0C7-9E0A-3BBE-0609-AF8FC40F75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826031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성능 평가 지표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3B89E96B-22DD-B057-4E39-8C2135B651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4" y="1325570"/>
            <a:ext cx="6729766" cy="167740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FB80BFE-53F5-8C80-09B6-9D5C1ECFA026}"/>
                  </a:ext>
                </a:extLst>
              </p:cNvPr>
              <p:cNvSpPr txBox="1"/>
              <p:nvPr/>
            </p:nvSpPr>
            <p:spPr>
              <a:xfrm>
                <a:off x="263781" y="3002973"/>
                <a:ext cx="11796776" cy="22321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Precision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𝐹𝑃</m:t>
                        </m:r>
                      </m:num>
                      <m:den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𝐹𝑃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𝑇𝑃</m:t>
                        </m:r>
                      </m:den>
                    </m:f>
                  </m:oMath>
                </a14:m>
                <a:r>
                  <a:rPr lang="en-US" altLang="ko-KR" sz="1300" dirty="0"/>
                  <a:t> : Positive</a:t>
                </a:r>
                <a:r>
                  <a:rPr lang="ko-KR" altLang="en-US" sz="1300" dirty="0"/>
                  <a:t>로 예측한 샘플 중 실제 </a:t>
                </a:r>
                <a:r>
                  <a:rPr lang="en-US" altLang="ko-KR" sz="1300" dirty="0"/>
                  <a:t>Positive sample</a:t>
                </a:r>
                <a:r>
                  <a:rPr lang="ko-KR" altLang="en-US" sz="1300" dirty="0"/>
                  <a:t>의 비율</a:t>
                </a:r>
                <a:endParaRPr lang="en-US" altLang="ko-KR" sz="1300" dirty="0"/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      Recall = FPR</a:t>
                </a:r>
                <a:r>
                  <a:rPr lang="ko-KR" altLang="en-US" sz="1300" dirty="0"/>
                  <a:t>과 같은 의미</a:t>
                </a:r>
                <a:r>
                  <a:rPr lang="en-US" altLang="ko-KR" sz="1300" dirty="0"/>
                  <a:t>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2)   TPR</a:t>
                </a:r>
                <a:r>
                  <a:rPr lang="ko-KR" altLang="en-US" sz="1300" dirty="0"/>
                  <a:t> </a:t>
                </a:r>
                <a:r>
                  <a:rPr lang="en-US" altLang="ko-KR" sz="1300" dirty="0"/>
                  <a:t>(True Positive rate)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𝑇𝑃</m:t>
                        </m:r>
                      </m:num>
                      <m:den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𝑇𝑃</m:t>
                        </m:r>
                        <m:r>
                          <a:rPr lang="en-US" altLang="ko-KR" sz="13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FN</m:t>
                        </m:r>
                      </m:den>
                    </m:f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300" dirty="0"/>
                  <a:t> : </a:t>
                </a:r>
                <a:r>
                  <a:rPr lang="ko-KR" altLang="en-US" sz="1300" dirty="0"/>
                  <a:t>실제 </a:t>
                </a:r>
                <a:r>
                  <a:rPr lang="en-US" altLang="ko-KR" sz="1300" dirty="0"/>
                  <a:t>Positive </a:t>
                </a:r>
                <a:r>
                  <a:rPr lang="ko-KR" altLang="en-US" sz="1300" dirty="0"/>
                  <a:t>샘플 중 </a:t>
                </a:r>
                <a:r>
                  <a:rPr lang="en-US" altLang="ko-KR" sz="1300" dirty="0"/>
                  <a:t>Positive</a:t>
                </a:r>
                <a:r>
                  <a:rPr lang="ko-KR" altLang="en-US" sz="1300" dirty="0"/>
                  <a:t>로 올바르게 예측한 비율</a:t>
                </a:r>
                <a:r>
                  <a:rPr lang="en-US" altLang="ko-KR" sz="1300" dirty="0"/>
                  <a:t>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      FPR (False Positive Rate)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𝐹𝑃</m:t>
                        </m:r>
                      </m:num>
                      <m:den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𝐹𝑃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𝑇𝑁</m:t>
                        </m:r>
                      </m:den>
                    </m:f>
                  </m:oMath>
                </a14:m>
                <a:r>
                  <a:rPr lang="en-US" altLang="ko-KR" sz="1300" dirty="0"/>
                  <a:t> : </a:t>
                </a:r>
                <a:r>
                  <a:rPr lang="ko-KR" altLang="en-US" sz="1300" dirty="0"/>
                  <a:t>실제 </a:t>
                </a:r>
                <a:r>
                  <a:rPr lang="en-US" altLang="ko-KR" sz="1300" dirty="0"/>
                  <a:t>Negative </a:t>
                </a:r>
                <a:r>
                  <a:rPr lang="ko-KR" altLang="en-US" sz="1300" dirty="0"/>
                  <a:t>샘플 중 </a:t>
                </a:r>
                <a:r>
                  <a:rPr lang="en-US" altLang="ko-KR" sz="1300" dirty="0"/>
                  <a:t>Positive</a:t>
                </a:r>
                <a:r>
                  <a:rPr lang="ko-KR" altLang="en-US" sz="1300" dirty="0"/>
                  <a:t>로 잘못 예측한 비율 </a:t>
                </a:r>
                <a:r>
                  <a:rPr lang="en-US" altLang="ko-KR" sz="1300" dirty="0"/>
                  <a:t>(Recall</a:t>
                </a:r>
                <a:r>
                  <a:rPr lang="ko-KR" altLang="en-US" sz="1300" dirty="0"/>
                  <a:t>과 같은 의미</a:t>
                </a:r>
                <a:r>
                  <a:rPr lang="en-US" altLang="ko-KR" sz="1300" dirty="0"/>
                  <a:t>)</a:t>
                </a:r>
              </a:p>
              <a:p>
                <a:pPr marL="342900" indent="-342900">
                  <a:lnSpc>
                    <a:spcPct val="150000"/>
                  </a:lnSpc>
                  <a:buAutoNum type="arabicParenR" startAt="3"/>
                </a:pPr>
                <a:r>
                  <a:rPr lang="ko-KR" altLang="en-US" sz="1300" dirty="0"/>
                  <a:t>대표적인 성능 평가 지표</a:t>
                </a:r>
                <a:r>
                  <a:rPr lang="en-US" altLang="ko-KR" sz="1300" dirty="0"/>
                  <a:t>: ROC-AUC</a:t>
                </a:r>
              </a:p>
              <a:p>
                <a:pPr>
                  <a:lnSpc>
                    <a:spcPct val="150000"/>
                  </a:lnSpc>
                </a:pPr>
                <a:endParaRPr lang="en-US" altLang="ko-KR" sz="1300" dirty="0"/>
              </a:p>
            </p:txBody>
          </p:sp>
        </mc:Choice>
        <mc:Fallback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FB80BFE-53F5-8C80-09B6-9D5C1ECFA0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781" y="3002973"/>
                <a:ext cx="11796776" cy="2232150"/>
              </a:xfrm>
              <a:prstGeom prst="rect">
                <a:avLst/>
              </a:prstGeom>
              <a:blipFill>
                <a:blip r:embed="rId3"/>
                <a:stretch>
                  <a:fillRect l="-15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08662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A86751-E9AE-73D8-1BE9-9D153ED3E13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E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824BB175-CF5E-C78C-8F51-96B4F3B6D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826031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성능 평가 지표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CAA47C-A130-625A-8953-B93775AE8EB7}"/>
              </a:ext>
            </a:extLst>
          </p:cNvPr>
          <p:cNvSpPr txBox="1"/>
          <p:nvPr/>
        </p:nvSpPr>
        <p:spPr>
          <a:xfrm>
            <a:off x="263781" y="1334975"/>
            <a:ext cx="11796776" cy="953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300" dirty="0"/>
              <a:t>ROC-AUC (Area Under Curve – Receiver Operating Characteristics)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ko-KR" altLang="en-US" sz="1300" dirty="0" err="1"/>
              <a:t>임계값에</a:t>
            </a:r>
            <a:r>
              <a:rPr lang="ko-KR" altLang="en-US" sz="1300" dirty="0"/>
              <a:t> 따른 </a:t>
            </a:r>
            <a:r>
              <a:rPr lang="en-US" altLang="ko-KR" sz="1300" dirty="0"/>
              <a:t>FPR-TPR curve</a:t>
            </a:r>
            <a:r>
              <a:rPr lang="ko-KR" altLang="en-US" sz="1300" dirty="0"/>
              <a:t>를 그리는 형태</a:t>
            </a:r>
            <a:endParaRPr lang="en-US" altLang="ko-KR" sz="1300" dirty="0"/>
          </a:p>
          <a:p>
            <a:pPr marL="342900" indent="-342900">
              <a:lnSpc>
                <a:spcPct val="150000"/>
              </a:lnSpc>
              <a:buAutoNum type="arabicParenR"/>
            </a:pPr>
            <a:endParaRPr lang="en-US" altLang="ko-KR" sz="1300" dirty="0"/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992CA74E-9F23-6C99-9333-D6BF07640210}"/>
              </a:ext>
            </a:extLst>
          </p:cNvPr>
          <p:cNvGrpSpPr/>
          <p:nvPr/>
        </p:nvGrpSpPr>
        <p:grpSpPr>
          <a:xfrm>
            <a:off x="346908" y="2098235"/>
            <a:ext cx="9119210" cy="3424791"/>
            <a:chOff x="346908" y="2098235"/>
            <a:chExt cx="9119210" cy="3424791"/>
          </a:xfrm>
        </p:grpSpPr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3D93477A-4596-4849-61DF-7EF1629315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6908" y="2098235"/>
              <a:ext cx="4692683" cy="3412445"/>
            </a:xfrm>
            <a:prstGeom prst="rect">
              <a:avLst/>
            </a:prstGeom>
          </p:spPr>
        </p:pic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652669C6-54D6-D480-CA13-AB332BBDD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9591" y="2098236"/>
              <a:ext cx="4426527" cy="3424790"/>
            </a:xfrm>
            <a:prstGeom prst="rect">
              <a:avLst/>
            </a:prstGeom>
          </p:spPr>
        </p:pic>
      </p:grp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5A0F77AF-45FD-7B06-6D3D-C01ECA664E27}"/>
              </a:ext>
            </a:extLst>
          </p:cNvPr>
          <p:cNvSpPr/>
          <p:nvPr/>
        </p:nvSpPr>
        <p:spPr>
          <a:xfrm>
            <a:off x="2473036" y="5309755"/>
            <a:ext cx="1039091" cy="23405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9AA8A3-07B2-1647-7F2F-9F54782A1942}"/>
              </a:ext>
            </a:extLst>
          </p:cNvPr>
          <p:cNvSpPr txBox="1"/>
          <p:nvPr/>
        </p:nvSpPr>
        <p:spPr>
          <a:xfrm>
            <a:off x="2473036" y="5590997"/>
            <a:ext cx="2047009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300" dirty="0" err="1"/>
              <a:t>임계값</a:t>
            </a:r>
            <a:r>
              <a:rPr lang="ko-KR" altLang="en-US" sz="1300" dirty="0"/>
              <a:t> 범위</a:t>
            </a:r>
            <a:r>
              <a:rPr lang="en-US" altLang="ko-KR" sz="1300" dirty="0"/>
              <a:t>: 0 ~ 1</a:t>
            </a:r>
          </a:p>
        </p:txBody>
      </p:sp>
    </p:spTree>
    <p:extLst>
      <p:ext uri="{BB962C8B-B14F-4D97-AF65-F5344CB8AC3E}">
        <p14:creationId xmlns:p14="http://schemas.microsoft.com/office/powerpoint/2010/main" val="1330202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610704B-E41D-A67D-939A-A3AD1312FCC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nvolutional Autoencoder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610425-F957-410A-0E98-5B0ACE6CC507}"/>
              </a:ext>
            </a:extLst>
          </p:cNvPr>
          <p:cNvSpPr txBox="1"/>
          <p:nvPr/>
        </p:nvSpPr>
        <p:spPr>
          <a:xfrm>
            <a:off x="244731" y="876301"/>
            <a:ext cx="1750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1]</a:t>
            </a:r>
            <a:endParaRPr lang="ko-KR" altLang="en-US" sz="15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A7DE7E-70BB-4D0C-CDD0-E57A4703F9A5}"/>
              </a:ext>
            </a:extLst>
          </p:cNvPr>
          <p:cNvSpPr txBox="1"/>
          <p:nvPr/>
        </p:nvSpPr>
        <p:spPr>
          <a:xfrm>
            <a:off x="263781" y="2350940"/>
            <a:ext cx="1750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2]</a:t>
            </a:r>
            <a:endParaRPr lang="ko-KR" altLang="en-US" sz="1500" b="1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AA17FF8-73A4-43F0-4ABC-8A7BC5B64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732" y="1180030"/>
            <a:ext cx="11829504" cy="1242202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BFD2CD7-1AA6-0E53-CA61-3EEF5DF64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682" y="2597085"/>
            <a:ext cx="11848554" cy="111190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A0F83D-2233-3F6B-4BD0-88A55341162C}"/>
              </a:ext>
            </a:extLst>
          </p:cNvPr>
          <p:cNvSpPr txBox="1"/>
          <p:nvPr/>
        </p:nvSpPr>
        <p:spPr>
          <a:xfrm>
            <a:off x="263781" y="3689197"/>
            <a:ext cx="1750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3]</a:t>
            </a:r>
            <a:endParaRPr lang="ko-KR" altLang="en-US" sz="1500" b="1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F363CDA5-50F9-2325-737E-4CCA4C0756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780" y="5504451"/>
            <a:ext cx="11848553" cy="126003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088FE40-FF10-DCDD-BA4B-A4AA3BD53709}"/>
              </a:ext>
            </a:extLst>
          </p:cNvPr>
          <p:cNvSpPr txBox="1"/>
          <p:nvPr/>
        </p:nvSpPr>
        <p:spPr>
          <a:xfrm>
            <a:off x="263781" y="5181286"/>
            <a:ext cx="23555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normal]</a:t>
            </a:r>
            <a:endParaRPr lang="ko-KR" altLang="en-US" sz="1500" b="1" dirty="0"/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9CE0F841-FB7D-D222-721E-AC97671889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780" y="3965495"/>
            <a:ext cx="11810456" cy="126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80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E36DBC1-F70E-69EB-523C-5EFA88A836F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nvolutional autoencoder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B5CA6505-873F-B4F4-EBEE-A49FEF22A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826031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성능 평가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937CFD34-86F7-547D-FE8C-02A54DA68DAF}"/>
                  </a:ext>
                </a:extLst>
              </p:cNvPr>
              <p:cNvSpPr txBox="1"/>
              <p:nvPr/>
            </p:nvSpPr>
            <p:spPr>
              <a:xfrm>
                <a:off x="254053" y="1279957"/>
                <a:ext cx="11796776" cy="15451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출력 이미지</a:t>
                </a:r>
                <a:r>
                  <a:rPr lang="en-US" altLang="ko-KR" sz="1300" dirty="0"/>
                  <a:t>: Autoencoder output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이진화</a:t>
                </a:r>
                <a:endParaRPr lang="en-US" altLang="ko-KR" sz="1300" dirty="0"/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Ground truth </a:t>
                </a:r>
                <a:r>
                  <a:rPr lang="ko-KR" altLang="en-US" sz="1300" dirty="0"/>
                  <a:t>이미지와 출력 이미지를 픽셀 별로 비교</a:t>
                </a:r>
                <a:endParaRPr lang="en-US" altLang="ko-KR" sz="1300" dirty="0"/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Segmentation </a:t>
                </a:r>
                <a:r>
                  <a:rPr lang="ko-KR" altLang="en-US" sz="1300" dirty="0"/>
                  <a:t>성능 </a:t>
                </a:r>
                <a:r>
                  <a:rPr lang="en-US" altLang="ko-KR" sz="1300" dirty="0"/>
                  <a:t>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ctrlPr>
                              <a:rPr lang="en-US" altLang="ko-KR" sz="130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en-US" altLang="ko-KR" sz="1300" i="1" smtClean="0">
                                <a:latin typeface="Cambria Math" panose="02040503050406030204" pitchFamily="18" charset="0"/>
                              </a:rPr>
                              <m:t>Ground</m:t>
                            </m:r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altLang="ko-KR" sz="1300" i="1">
                                <a:latin typeface="Cambria Math" panose="02040503050406030204" pitchFamily="18" charset="0"/>
                              </a:rPr>
                              <m:t>truth</m:t>
                            </m:r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altLang="ko-KR" sz="1300" i="1">
                                <a:latin typeface="Cambria Math" panose="02040503050406030204" pitchFamily="18" charset="0"/>
                              </a:rPr>
                              <m:t>==</m:t>
                            </m:r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altLang="ko-KR" sz="1300" i="1">
                                <a:latin typeface="Cambria Math" panose="02040503050406030204" pitchFamily="18" charset="0"/>
                              </a:rPr>
                              <m:t>Autoencoder</m:t>
                            </m:r>
                            <m:r>
                              <a:rPr lang="en-US" altLang="ko-KR" sz="13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altLang="ko-KR" sz="1300" i="1">
                                <a:latin typeface="Cambria Math" panose="02040503050406030204" pitchFamily="18" charset="0"/>
                              </a:rPr>
                              <m:t>output</m:t>
                            </m:r>
                          </m:e>
                        </m:d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ko-KR" altLang="en-US" sz="1300" i="1">
                            <a:latin typeface="Cambria Math" panose="02040503050406030204" pitchFamily="18" charset="0"/>
                          </a:rPr>
                          <m:t>픽셀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ko-KR" altLang="en-US" sz="1300" i="1">
                            <a:latin typeface="Cambria Math" panose="02040503050406030204" pitchFamily="18" charset="0"/>
                          </a:rPr>
                          <m:t>수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num>
                      <m:den>
                        <m:r>
                          <a:rPr lang="ko-KR" altLang="en-US" sz="1300" i="1">
                            <a:latin typeface="Cambria Math" panose="02040503050406030204" pitchFamily="18" charset="0"/>
                          </a:rPr>
                          <m:t>전체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ko-KR" altLang="en-US" sz="1300" i="1">
                            <a:latin typeface="Cambria Math" panose="02040503050406030204" pitchFamily="18" charset="0"/>
                          </a:rPr>
                          <m:t>픽셀</m:t>
                        </m:r>
                        <m:r>
                          <a:rPr lang="en-US" altLang="ko-KR" sz="13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ko-KR" altLang="en-US" sz="1300" i="1">
                            <a:latin typeface="Cambria Math" panose="02040503050406030204" pitchFamily="18" charset="0"/>
                          </a:rPr>
                          <m:t>개수</m:t>
                        </m:r>
                      </m:den>
                    </m:f>
                    <m:r>
                      <a:rPr lang="en-US" altLang="ko-KR" sz="130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en-US" altLang="ko-KR" sz="1300" i="1" dirty="0" smtClean="0">
                        <a:latin typeface="Cambria Math" panose="02040503050406030204" pitchFamily="18" charset="0"/>
                      </a:rPr>
                      <m:t>100[%]</m:t>
                    </m:r>
                  </m:oMath>
                </a14:m>
                <a:r>
                  <a:rPr lang="en-US" altLang="ko-KR" sz="1300" dirty="0"/>
                  <a:t> 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각 </a:t>
                </a:r>
                <a:r>
                  <a:rPr lang="en-US" altLang="ko-KR" sz="1300" dirty="0"/>
                  <a:t>class</a:t>
                </a:r>
                <a:r>
                  <a:rPr lang="ko-KR" altLang="en-US" sz="1300" dirty="0"/>
                  <a:t>에 대한 </a:t>
                </a:r>
                <a:r>
                  <a:rPr lang="en-US" altLang="ko-KR" sz="1300" dirty="0"/>
                  <a:t>Test </a:t>
                </a:r>
                <a:r>
                  <a:rPr lang="ko-KR" altLang="en-US" sz="1300" dirty="0"/>
                  <a:t>이미지 수 </a:t>
                </a:r>
                <a:r>
                  <a:rPr lang="en-US" altLang="ko-KR" sz="1300" dirty="0"/>
                  <a:t>: 20</a:t>
                </a:r>
                <a:r>
                  <a:rPr lang="ko-KR" altLang="en-US" sz="1300" dirty="0"/>
                  <a:t>장</a:t>
                </a:r>
                <a:endParaRPr lang="en-US" altLang="ko-KR" sz="13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937CFD34-86F7-547D-FE8C-02A54DA68D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053" y="1279957"/>
                <a:ext cx="11796776" cy="1545103"/>
              </a:xfrm>
              <a:prstGeom prst="rect">
                <a:avLst/>
              </a:prstGeom>
              <a:blipFill>
                <a:blip r:embed="rId2"/>
                <a:stretch>
                  <a:fillRect l="-103" b="-27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그림 10">
            <a:extLst>
              <a:ext uri="{FF2B5EF4-FFF2-40B4-BE49-F238E27FC236}">
                <a16:creationId xmlns:a16="http://schemas.microsoft.com/office/drawing/2014/main" id="{4F6A5A97-3237-5B2A-C184-86FC8D6DB5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769" y="3268003"/>
            <a:ext cx="5569130" cy="247807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3062BA1-FDE4-2C9A-C023-5AC42F81AF35}"/>
              </a:ext>
            </a:extLst>
          </p:cNvPr>
          <p:cNvSpPr txBox="1"/>
          <p:nvPr/>
        </p:nvSpPr>
        <p:spPr>
          <a:xfrm>
            <a:off x="263781" y="2915963"/>
            <a:ext cx="1750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1]</a:t>
            </a:r>
            <a:endParaRPr lang="ko-KR" altLang="en-US" sz="1500" b="1" dirty="0"/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36BCA0CA-E251-D040-75CB-8615630A3BF5}"/>
              </a:ext>
            </a:extLst>
          </p:cNvPr>
          <p:cNvSpPr/>
          <p:nvPr/>
        </p:nvSpPr>
        <p:spPr>
          <a:xfrm>
            <a:off x="3898232" y="3437499"/>
            <a:ext cx="308008" cy="25860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A781163D-3A69-C989-8C9D-6A2E47FA14CA}"/>
              </a:ext>
            </a:extLst>
          </p:cNvPr>
          <p:cNvSpPr/>
          <p:nvPr/>
        </p:nvSpPr>
        <p:spPr>
          <a:xfrm>
            <a:off x="2106329" y="5178068"/>
            <a:ext cx="308008" cy="25860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D94070E5-6736-C483-F4AD-38D619999FB2}"/>
              </a:ext>
            </a:extLst>
          </p:cNvPr>
          <p:cNvCxnSpPr>
            <a:cxnSpLocks/>
            <a:stCxn id="15" idx="6"/>
            <a:endCxn id="21" idx="1"/>
          </p:cNvCxnSpPr>
          <p:nvPr/>
        </p:nvCxnSpPr>
        <p:spPr>
          <a:xfrm flipV="1">
            <a:off x="2414337" y="4499649"/>
            <a:ext cx="3591827" cy="80772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9FC3FC1-0302-8CEF-1FCA-799922B3089A}"/>
              </a:ext>
            </a:extLst>
          </p:cNvPr>
          <p:cNvCxnSpPr>
            <a:cxnSpLocks/>
            <a:endCxn id="24" idx="1"/>
          </p:cNvCxnSpPr>
          <p:nvPr/>
        </p:nvCxnSpPr>
        <p:spPr>
          <a:xfrm flipV="1">
            <a:off x="4210250" y="2281868"/>
            <a:ext cx="1760663" cy="1249685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그림 20">
            <a:extLst>
              <a:ext uri="{FF2B5EF4-FFF2-40B4-BE49-F238E27FC236}">
                <a16:creationId xmlns:a16="http://schemas.microsoft.com/office/drawing/2014/main" id="{716E9275-4DE8-0A2E-AD11-2F6275C708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6164" y="3821229"/>
            <a:ext cx="6044665" cy="1356839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D09A9E7D-E561-CB34-A139-01A3C1EBFB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70913" y="1635614"/>
            <a:ext cx="6079916" cy="129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153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A865DE-B86A-4979-A78C-D14D03C9AD9C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nvolutional autoencoder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643E99-59CB-2EE9-00C4-5BC505EE122F}"/>
              </a:ext>
            </a:extLst>
          </p:cNvPr>
          <p:cNvSpPr txBox="1"/>
          <p:nvPr/>
        </p:nvSpPr>
        <p:spPr>
          <a:xfrm>
            <a:off x="263780" y="870432"/>
            <a:ext cx="1750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2]</a:t>
            </a:r>
            <a:endParaRPr lang="ko-KR" altLang="en-US" sz="1500" b="1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ED04A470-AB6E-B581-F56F-10E7FC5A0B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1" y="1111945"/>
            <a:ext cx="5569200" cy="25203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D37D182-73A6-6140-FDD2-63935D87503B}"/>
              </a:ext>
            </a:extLst>
          </p:cNvPr>
          <p:cNvSpPr txBox="1"/>
          <p:nvPr/>
        </p:nvSpPr>
        <p:spPr>
          <a:xfrm>
            <a:off x="263781" y="3632265"/>
            <a:ext cx="17509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500" b="1" dirty="0"/>
              <a:t>[class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3]</a:t>
            </a:r>
            <a:endParaRPr lang="ko-KR" altLang="en-US" sz="1500" b="1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7AD0E5E9-AEE1-C4BA-C095-5B2C0A60F5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81" y="3955429"/>
            <a:ext cx="5569200" cy="2696717"/>
          </a:xfrm>
          <a:prstGeom prst="rect">
            <a:avLst/>
          </a:prstGeom>
        </p:spPr>
      </p:pic>
      <p:sp>
        <p:nvSpPr>
          <p:cNvPr id="12" name="타원 11">
            <a:extLst>
              <a:ext uri="{FF2B5EF4-FFF2-40B4-BE49-F238E27FC236}">
                <a16:creationId xmlns:a16="http://schemas.microsoft.com/office/drawing/2014/main" id="{29EB0E92-A173-51AC-DA81-809D006A3D34}"/>
              </a:ext>
            </a:extLst>
          </p:cNvPr>
          <p:cNvSpPr/>
          <p:nvPr/>
        </p:nvSpPr>
        <p:spPr>
          <a:xfrm>
            <a:off x="831240" y="3058537"/>
            <a:ext cx="308008" cy="25860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C9279DBD-B937-0F4B-F227-2ED8BBBD0F2A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2682326" y="1486152"/>
            <a:ext cx="3285408" cy="563695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타원 15">
            <a:extLst>
              <a:ext uri="{FF2B5EF4-FFF2-40B4-BE49-F238E27FC236}">
                <a16:creationId xmlns:a16="http://schemas.microsoft.com/office/drawing/2014/main" id="{9EB14922-A4D1-4740-258E-D82D93CBC989}"/>
              </a:ext>
            </a:extLst>
          </p:cNvPr>
          <p:cNvSpPr/>
          <p:nvPr/>
        </p:nvSpPr>
        <p:spPr>
          <a:xfrm>
            <a:off x="1301274" y="6023284"/>
            <a:ext cx="308008" cy="25860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4F50F7FF-C642-05AE-AB6C-A23E41298678}"/>
              </a:ext>
            </a:extLst>
          </p:cNvPr>
          <p:cNvCxnSpPr>
            <a:cxnSpLocks/>
          </p:cNvCxnSpPr>
          <p:nvPr/>
        </p:nvCxnSpPr>
        <p:spPr>
          <a:xfrm>
            <a:off x="1609282" y="6183145"/>
            <a:ext cx="4358453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>
            <a:extLst>
              <a:ext uri="{FF2B5EF4-FFF2-40B4-BE49-F238E27FC236}">
                <a16:creationId xmlns:a16="http://schemas.microsoft.com/office/drawing/2014/main" id="{FB0E0BBA-D4C9-89DD-81B2-50F285CEFEC6}"/>
              </a:ext>
            </a:extLst>
          </p:cNvPr>
          <p:cNvSpPr/>
          <p:nvPr/>
        </p:nvSpPr>
        <p:spPr>
          <a:xfrm>
            <a:off x="2374318" y="1905097"/>
            <a:ext cx="308008" cy="25860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471193B4-A645-B094-1FB3-786CB3E67AF2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1139248" y="2989665"/>
            <a:ext cx="4828487" cy="206615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2CD9C0EA-3A6D-DC38-2888-F45ACB67CB92}"/>
              </a:ext>
            </a:extLst>
          </p:cNvPr>
          <p:cNvSpPr/>
          <p:nvPr/>
        </p:nvSpPr>
        <p:spPr>
          <a:xfrm>
            <a:off x="2066310" y="4988010"/>
            <a:ext cx="308008" cy="258602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40EA8976-B669-61B3-AA34-52278C86E85F}"/>
              </a:ext>
            </a:extLst>
          </p:cNvPr>
          <p:cNvCxnSpPr>
            <a:cxnSpLocks/>
            <a:endCxn id="39" idx="1"/>
          </p:cNvCxnSpPr>
          <p:nvPr/>
        </p:nvCxnSpPr>
        <p:spPr>
          <a:xfrm flipV="1">
            <a:off x="2374318" y="4494943"/>
            <a:ext cx="3590021" cy="622368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FDE89C92-778D-2652-6E8E-E90DCCF552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7735" y="2281093"/>
            <a:ext cx="6095238" cy="1417143"/>
          </a:xfrm>
          <a:prstGeom prst="rect">
            <a:avLst/>
          </a:prstGeom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8CEB856B-BA8F-6C0B-5FA7-9C1EF83070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67734" y="827379"/>
            <a:ext cx="6095239" cy="1317546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1B8F37A1-C676-0AF3-3537-B3B0F178C1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67735" y="5288583"/>
            <a:ext cx="6095238" cy="1417143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72E55F8C-2A11-4949-8BAD-9814D1A625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4339" y="3858098"/>
            <a:ext cx="6095238" cy="1273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51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8BA5142-0AC3-F118-F1AB-C42DDE815D2D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Convolutional autoencoder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표 3">
                <a:extLst>
                  <a:ext uri="{FF2B5EF4-FFF2-40B4-BE49-F238E27FC236}">
                    <a16:creationId xmlns:a16="http://schemas.microsoft.com/office/drawing/2014/main" id="{BC146C9E-E7A7-CDDD-2C9F-1B40F650E84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18860454"/>
                  </p:ext>
                </p:extLst>
              </p:nvPr>
            </p:nvGraphicFramePr>
            <p:xfrm>
              <a:off x="263781" y="864044"/>
              <a:ext cx="4125340" cy="1744404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062670">
                      <a:extLst>
                        <a:ext uri="{9D8B030D-6E8A-4147-A177-3AD203B41FA5}">
                          <a16:colId xmlns:a16="http://schemas.microsoft.com/office/drawing/2014/main" val="3321363598"/>
                        </a:ext>
                      </a:extLst>
                    </a:gridCol>
                    <a:gridCol w="2062670">
                      <a:extLst>
                        <a:ext uri="{9D8B030D-6E8A-4147-A177-3AD203B41FA5}">
                          <a16:colId xmlns:a16="http://schemas.microsoft.com/office/drawing/2014/main" val="2896686828"/>
                        </a:ext>
                      </a:extLst>
                    </a:gridCol>
                  </a:tblGrid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endParaRPr lang="ko-KR" altLang="en-US" sz="15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BlToT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lToTr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500" b="1" dirty="0">
                              <a:solidFill>
                                <a:schemeClr val="tx1"/>
                              </a:solidFill>
                            </a:rPr>
                            <a:t>평균 정확도 </a:t>
                          </a:r>
                          <a:r>
                            <a:rPr lang="en-US" altLang="ko-KR" sz="1500" b="1" dirty="0"/>
                            <a:t>[%]</a:t>
                          </a:r>
                          <a:endParaRPr lang="ko-KR" altLang="en-US" sz="15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04007891"/>
                      </a:ext>
                    </a:extLst>
                  </a:tr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/>
                            <a:t>Class 1</a:t>
                          </a:r>
                          <a:endParaRPr lang="ko-KR" altLang="en-US" sz="1500" b="1" dirty="0"/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i="1" smtClean="0">
                                    <a:latin typeface="Cambria Math" panose="02040503050406030204" pitchFamily="18" charset="0"/>
                                  </a:rPr>
                                  <m:t>96.88</m:t>
                                </m:r>
                              </m:oMath>
                            </m:oMathPara>
                          </a14:m>
                          <a:endParaRPr lang="ko-KR" altLang="en-US" sz="150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845623990"/>
                      </a:ext>
                    </a:extLst>
                  </a:tr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/>
                            <a:t>Class 2</a:t>
                          </a:r>
                          <a:endParaRPr lang="ko-KR" altLang="en-US" sz="1500" b="1" dirty="0"/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i="1" smtClean="0">
                                    <a:latin typeface="Cambria Math" panose="02040503050406030204" pitchFamily="18" charset="0"/>
                                  </a:rPr>
                                  <m:t>95.49</m:t>
                                </m:r>
                              </m:oMath>
                            </m:oMathPara>
                          </a14:m>
                          <a:endParaRPr lang="ko-KR" altLang="en-US" sz="150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8143135"/>
                      </a:ext>
                    </a:extLst>
                  </a:tr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/>
                            <a:t>Class 3</a:t>
                          </a:r>
                          <a:endParaRPr lang="ko-KR" altLang="en-US" sz="1500" b="1" dirty="0"/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1500" i="1" smtClean="0">
                                    <a:latin typeface="Cambria Math" panose="02040503050406030204" pitchFamily="18" charset="0"/>
                                  </a:rPr>
                                  <m:t>89.46</m:t>
                                </m:r>
                              </m:oMath>
                            </m:oMathPara>
                          </a14:m>
                          <a:endParaRPr lang="ko-KR" altLang="en-US" sz="150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45134628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표 3">
                <a:extLst>
                  <a:ext uri="{FF2B5EF4-FFF2-40B4-BE49-F238E27FC236}">
                    <a16:creationId xmlns:a16="http://schemas.microsoft.com/office/drawing/2014/main" id="{BC146C9E-E7A7-CDDD-2C9F-1B40F650E84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18860454"/>
                  </p:ext>
                </p:extLst>
              </p:nvPr>
            </p:nvGraphicFramePr>
            <p:xfrm>
              <a:off x="263781" y="864044"/>
              <a:ext cx="4125340" cy="1744404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062670">
                      <a:extLst>
                        <a:ext uri="{9D8B030D-6E8A-4147-A177-3AD203B41FA5}">
                          <a16:colId xmlns:a16="http://schemas.microsoft.com/office/drawing/2014/main" val="3321363598"/>
                        </a:ext>
                      </a:extLst>
                    </a:gridCol>
                    <a:gridCol w="2062670">
                      <a:extLst>
                        <a:ext uri="{9D8B030D-6E8A-4147-A177-3AD203B41FA5}">
                          <a16:colId xmlns:a16="http://schemas.microsoft.com/office/drawing/2014/main" val="2896686828"/>
                        </a:ext>
                      </a:extLst>
                    </a:gridCol>
                  </a:tblGrid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endParaRPr lang="ko-KR" altLang="en-US" sz="15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lnBlToT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lToTr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ko-KR" altLang="en-US" sz="1500" b="1" dirty="0">
                              <a:solidFill>
                                <a:schemeClr val="tx1"/>
                              </a:solidFill>
                            </a:rPr>
                            <a:t>평균 정확도 </a:t>
                          </a:r>
                          <a:r>
                            <a:rPr lang="en-US" altLang="ko-KR" sz="1500" b="1" dirty="0"/>
                            <a:t>[%]</a:t>
                          </a:r>
                          <a:endParaRPr lang="ko-KR" altLang="en-US" sz="15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04007891"/>
                      </a:ext>
                    </a:extLst>
                  </a:tr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/>
                            <a:t>Class 1</a:t>
                          </a:r>
                          <a:endParaRPr lang="ko-KR" altLang="en-US" sz="1500" b="1" dirty="0"/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295" t="-101389" r="-590" b="-201389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845623990"/>
                      </a:ext>
                    </a:extLst>
                  </a:tr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/>
                            <a:t>Class 2</a:t>
                          </a:r>
                          <a:endParaRPr lang="ko-KR" altLang="en-US" sz="1500" b="1" dirty="0"/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295" t="-204225" r="-590" b="-10422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8143135"/>
                      </a:ext>
                    </a:extLst>
                  </a:tr>
                  <a:tr h="436101">
                    <a:tc>
                      <a:txBody>
                        <a:bodyPr/>
                        <a:lstStyle/>
                        <a:p>
                          <a:pPr algn="ctr" latinLnBrk="1"/>
                          <a:r>
                            <a:rPr lang="en-US" altLang="ko-KR" sz="1500" b="1" dirty="0"/>
                            <a:t>Class 3</a:t>
                          </a:r>
                          <a:endParaRPr lang="ko-KR" altLang="en-US" sz="1500" b="1" dirty="0"/>
                        </a:p>
                      </a:txBody>
                      <a:tcPr anchor="ctr">
                        <a:solidFill>
                          <a:schemeClr val="bg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100295" t="-300000" r="-590" b="-2778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451346283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13334CD-91DD-C962-EEEA-F53522E16F8A}"/>
                  </a:ext>
                </a:extLst>
              </p:cNvPr>
              <p:cNvSpPr txBox="1"/>
              <p:nvPr/>
            </p:nvSpPr>
            <p:spPr>
              <a:xfrm>
                <a:off x="263782" y="2656448"/>
                <a:ext cx="11796776" cy="1565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이미지 상 결함의 크기가 차지하는 비율이 커질수록 </a:t>
                </a:r>
                <a:r>
                  <a:rPr lang="en-US" altLang="ko-KR" sz="1300" dirty="0"/>
                  <a:t>Segmentation </a:t>
                </a:r>
                <a:r>
                  <a:rPr lang="ko-KR" altLang="en-US" sz="1300" dirty="0"/>
                  <a:t>성능이 하락하는 경향성</a:t>
                </a:r>
                <a:endParaRPr lang="en-US" altLang="ko-KR" sz="1300" dirty="0"/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논문에서 말하는 </a:t>
                </a:r>
                <a:r>
                  <a:rPr lang="en-US" altLang="ko-KR" sz="1300" dirty="0"/>
                  <a:t>Conv AE </a:t>
                </a:r>
                <a:r>
                  <a:rPr lang="ko-KR" altLang="en-US" sz="1300" dirty="0"/>
                  <a:t>성능</a:t>
                </a:r>
                <a:r>
                  <a:rPr lang="en-US" altLang="ko-KR" sz="1300" dirty="0"/>
                  <a:t>: </a:t>
                </a:r>
                <a14:m>
                  <m:oMath xmlns:m="http://schemas.openxmlformats.org/officeDocument/2006/math">
                    <m:r>
                      <a:rPr lang="ko-KR" altLang="en-US" sz="1300" i="1" dirty="0">
                        <a:latin typeface="Cambria Math" panose="02040503050406030204" pitchFamily="18" charset="0"/>
                      </a:rPr>
                      <m:t>약</m:t>
                    </m:r>
                  </m:oMath>
                </a14:m>
                <a:r>
                  <a:rPr lang="en-US" altLang="ko-KR" sz="1300" dirty="0"/>
                  <a:t> 70%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 err="1"/>
                  <a:t>MVTec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데이터셋에 있어</a:t>
                </a:r>
                <a:r>
                  <a:rPr lang="en-US" altLang="ko-KR" sz="1300" dirty="0"/>
                  <a:t>, Broken Large</a:t>
                </a:r>
                <a:r>
                  <a:rPr lang="ko-KR" altLang="en-US" sz="1300" dirty="0"/>
                  <a:t>와 같은 </a:t>
                </a:r>
                <a:r>
                  <a:rPr lang="en-US" altLang="ko-KR" sz="1300" dirty="0"/>
                  <a:t>case</a:t>
                </a:r>
                <a:r>
                  <a:rPr lang="ko-KR" altLang="en-US" sz="1300" dirty="0"/>
                  <a:t>에 적용한 뒤</a:t>
                </a:r>
                <a:r>
                  <a:rPr lang="en-US" altLang="ko-KR" sz="1300" dirty="0"/>
                  <a:t>, </a:t>
                </a:r>
                <a:r>
                  <a:rPr lang="ko-KR" altLang="en-US" sz="1300" dirty="0"/>
                  <a:t>가장 낮은 성능의 결과를 표기해둔 것 같음</a:t>
                </a:r>
                <a:r>
                  <a:rPr lang="en-US" altLang="ko-KR" sz="1300" dirty="0"/>
                  <a:t>.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더 높은 정확도 도출을 위해</a:t>
                </a:r>
                <a:endParaRPr lang="en-US" altLang="ko-KR" sz="1300" dirty="0"/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- </a:t>
                </a:r>
                <a:r>
                  <a:rPr lang="en-US" altLang="ko-KR" sz="1300" dirty="0" err="1"/>
                  <a:t>Severstal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데이터셋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결함의 형태 </a:t>
                </a:r>
                <a:r>
                  <a:rPr lang="en-US" altLang="ko-KR" sz="1300" dirty="0"/>
                  <a:t>or </a:t>
                </a:r>
                <a:r>
                  <a:rPr lang="ko-KR" altLang="en-US" sz="1300" dirty="0"/>
                  <a:t>철강의 형태 자체가 다양하다 보니 학습 데이터셋을 늘리는 것</a:t>
                </a:r>
                <a:endParaRPr lang="en-US" altLang="ko-KR" sz="13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13334CD-91DD-C962-EEEA-F53522E16F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782" y="2656448"/>
                <a:ext cx="11796776" cy="1565813"/>
              </a:xfrm>
              <a:prstGeom prst="rect">
                <a:avLst/>
              </a:prstGeom>
              <a:blipFill>
                <a:blip r:embed="rId3"/>
                <a:stretch>
                  <a:fillRect l="-103" b="-233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09061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23</TotalTime>
  <Words>268</Words>
  <Application>Microsoft Office PowerPoint</Application>
  <PresentationFormat>와이드스크린</PresentationFormat>
  <Paragraphs>45</Paragraphs>
  <Slides>7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7</vt:i4>
      </vt:variant>
    </vt:vector>
  </HeadingPairs>
  <TitlesOfParts>
    <vt:vector size="17" baseType="lpstr">
      <vt:lpstr>현대하모니 B</vt:lpstr>
      <vt:lpstr>현대하모니 L</vt:lpstr>
      <vt:lpstr>현대하모니 M</vt:lpstr>
      <vt:lpstr>Arial</vt:lpstr>
      <vt:lpstr>Calibri</vt:lpstr>
      <vt:lpstr>Calibri Light</vt:lpstr>
      <vt:lpstr>Cambria Math</vt:lpstr>
      <vt:lpstr>Wingdings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한민웅/21800773</cp:lastModifiedBy>
  <cp:revision>1492</cp:revision>
  <dcterms:created xsi:type="dcterms:W3CDTF">2023-02-24T09:29:18Z</dcterms:created>
  <dcterms:modified xsi:type="dcterms:W3CDTF">2024-06-04T07:08:35Z</dcterms:modified>
</cp:coreProperties>
</file>